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omments/modernComment_127_0.xml" ContentType="application/vnd.ms-powerpoint.comment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embedTrueTypeFonts="1" saveSubsetFonts="1" autoCompressPictures="0">
  <p:sldMasterIdLst>
    <p:sldMasterId id="2147483648" r:id="rId12"/>
  </p:sldMasterIdLst>
  <p:notesMasterIdLst>
    <p:notesMasterId r:id="rId14"/>
  </p:notesMasterIdLst>
  <p:sldIdLst>
    <p:sldId id="295" r:id="rId13"/>
  </p:sldIdLst>
  <p:sldSz cx="9144000" cy="5143500" type="screen16x9"/>
  <p:notesSz cx="6858000" cy="9144000"/>
  <p:embeddedFontLst>
    <p:embeddedFont>
      <p:font typeface="Exo" panose="020B0604020202020204" charset="0"/>
      <p:regular r:id="rId15"/>
      <p:bold r:id="rId16"/>
      <p:italic r:id="rId17"/>
      <p:boldItalic r:id="rId18"/>
    </p:embeddedFont>
    <p:embeddedFont>
      <p:font typeface="Playfair Display SemiBold" panose="020B0604020202020204" charset="0"/>
      <p:regular r:id="rId19"/>
      <p:bold r:id="rId20"/>
      <p:italic r:id="rId21"/>
      <p:boldItalic r:id="rId22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  <p15:guide id="3" pos="576">
          <p15:clr>
            <a:srgbClr val="9AA0A6"/>
          </p15:clr>
        </p15:guide>
        <p15:guide id="4" pos="5184">
          <p15:clr>
            <a:srgbClr val="9AA0A6"/>
          </p15:clr>
        </p15:guide>
        <p15:guide id="5" pos="288">
          <p15:clr>
            <a:srgbClr val="9AA0A6"/>
          </p15:clr>
        </p15:guide>
        <p15:guide id="6" pos="5472">
          <p15:clr>
            <a:srgbClr val="9AA0A6"/>
          </p15:clr>
        </p15:guide>
        <p15:guide id="7" orient="horz" pos="144">
          <p15:clr>
            <a:srgbClr val="9AA0A6"/>
          </p15:clr>
        </p15:guide>
        <p15:guide id="8" orient="horz" pos="3096">
          <p15:clr>
            <a:srgbClr val="9AA0A6"/>
          </p15:clr>
        </p15:guide>
      </p15:sldGuideLst>
    </p:ext>
    <p:ext uri="GoogleSlidesCustomDataVersion2">
      <go:slidesCustomData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r:id="rId86" roundtripDataSignature="AMtx7mitAyxMKobwCOHYGfUOFeFsM+5RYw==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D4474C75-37D1-F114-F9EF-B4C04D99555E}" name="Felipe Platzer" initials="FP" userId="04dca8c6dd256fc0" providerId="Windows Live"/>
  <p188:author id="{EC28B4B0-6701-2EAD-4AFD-41CFFF8EDE08}" name="Felipe Platzer" initials="FP" userId="S::Felipe.Platzer@partssource.com::48042b59-0d57-44f2-90d5-b62a10cab7a7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02" d="100"/>
          <a:sy n="102" d="100"/>
        </p:scale>
        <p:origin x="91" y="96"/>
      </p:cViewPr>
      <p:guideLst>
        <p:guide orient="horz" pos="1620"/>
        <p:guide pos="2880"/>
        <p:guide pos="576"/>
        <p:guide pos="5184"/>
        <p:guide pos="288"/>
        <p:guide pos="5472"/>
        <p:guide orient="horz" pos="144"/>
        <p:guide orient="horz" pos="3096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8.xml"/><Relationship Id="rId13" Type="http://schemas.openxmlformats.org/officeDocument/2006/relationships/slide" Target="slides/slide1.xml"/><Relationship Id="rId18" Type="http://schemas.openxmlformats.org/officeDocument/2006/relationships/font" Target="fonts/font4.fntdata"/><Relationship Id="rId3" Type="http://schemas.openxmlformats.org/officeDocument/2006/relationships/customXml" Target="../customXml/item3.xml"/><Relationship Id="rId21" Type="http://schemas.openxmlformats.org/officeDocument/2006/relationships/font" Target="fonts/font7.fntdata"/><Relationship Id="rId89" Type="http://schemas.openxmlformats.org/officeDocument/2006/relationships/theme" Target="theme/theme1.xml"/><Relationship Id="rId7" Type="http://schemas.openxmlformats.org/officeDocument/2006/relationships/customXml" Target="../customXml/item7.xml"/><Relationship Id="rId12" Type="http://schemas.openxmlformats.org/officeDocument/2006/relationships/slideMaster" Target="slideMasters/slideMaster1.xml"/><Relationship Id="rId17" Type="http://schemas.openxmlformats.org/officeDocument/2006/relationships/font" Target="fonts/font3.fntdata"/><Relationship Id="rId2" Type="http://schemas.openxmlformats.org/officeDocument/2006/relationships/customXml" Target="../customXml/item2.xml"/><Relationship Id="rId16" Type="http://schemas.openxmlformats.org/officeDocument/2006/relationships/font" Target="fonts/font2.fntdata"/><Relationship Id="rId20" Type="http://schemas.openxmlformats.org/officeDocument/2006/relationships/font" Target="fonts/font6.fntdata"/><Relationship Id="rId88" Type="http://schemas.openxmlformats.org/officeDocument/2006/relationships/viewProps" Target="viewProps.xml"/><Relationship Id="rId91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87" Type="http://schemas.openxmlformats.org/officeDocument/2006/relationships/presProps" Target="presProps.xml"/><Relationship Id="rId5" Type="http://schemas.openxmlformats.org/officeDocument/2006/relationships/customXml" Target="../customXml/item5.xml"/><Relationship Id="rId15" Type="http://schemas.openxmlformats.org/officeDocument/2006/relationships/font" Target="fonts/font1.fntdata"/><Relationship Id="rId90" Type="http://schemas.openxmlformats.org/officeDocument/2006/relationships/tableStyles" Target="tableStyles.xml"/><Relationship Id="rId10" Type="http://schemas.openxmlformats.org/officeDocument/2006/relationships/customXml" Target="../customXml/item10.xml"/><Relationship Id="rId19" Type="http://schemas.openxmlformats.org/officeDocument/2006/relationships/font" Target="fonts/font5.fntdata"/><Relationship Id="rId86" Type="http://customschemas.google.com/relationships/presentationmetadata" Target="metadata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notesMaster" Target="notesMasters/notesMaster1.xml"/><Relationship Id="rId22" Type="http://schemas.openxmlformats.org/officeDocument/2006/relationships/font" Target="fonts/font8.fntdata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063796636696121"/>
          <c:y val="2.8181267473045651E-2"/>
          <c:w val="0.76858434519112906"/>
          <c:h val="0.92919004701191366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otal VC funding ($M)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&quot;$&quot;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Other</c:v>
                </c:pt>
                <c:pt idx="1">
                  <c:v>Semiconductor manufacturing equipment</c:v>
                </c:pt>
                <c:pt idx="2">
                  <c:v>Electronic equipment</c:v>
                </c:pt>
                <c:pt idx="3">
                  <c:v>Micro electronics</c:v>
                </c:pt>
                <c:pt idx="4">
                  <c:v>Mixed signal semiconductor</c:v>
                </c:pt>
                <c:pt idx="5">
                  <c:v>Connectivity, IOT</c:v>
                </c:pt>
                <c:pt idx="6">
                  <c:v>Photonics</c:v>
                </c:pt>
                <c:pt idx="7">
                  <c:v>Semiconductor parts and components</c:v>
                </c:pt>
                <c:pt idx="8">
                  <c:v>Quantum</c:v>
                </c:pt>
                <c:pt idx="9">
                  <c:v>Semiconductor chip technology</c:v>
                </c:pt>
                <c:pt idx="10">
                  <c:v>Computing</c:v>
                </c:pt>
                <c:pt idx="11">
                  <c:v>Artificial intelligence</c:v>
                </c:pt>
              </c:strCache>
            </c:strRef>
          </c:cat>
          <c:val>
            <c:numRef>
              <c:f>Sheet1!$B$2:$B$13</c:f>
              <c:numCache>
                <c:formatCode>General</c:formatCode>
                <c:ptCount val="12"/>
                <c:pt idx="0">
                  <c:v>518</c:v>
                </c:pt>
                <c:pt idx="1">
                  <c:v>124</c:v>
                </c:pt>
                <c:pt idx="2">
                  <c:v>180</c:v>
                </c:pt>
                <c:pt idx="3">
                  <c:v>187</c:v>
                </c:pt>
                <c:pt idx="4">
                  <c:v>196</c:v>
                </c:pt>
                <c:pt idx="5">
                  <c:v>400</c:v>
                </c:pt>
                <c:pt idx="6">
                  <c:v>424</c:v>
                </c:pt>
                <c:pt idx="7">
                  <c:v>469</c:v>
                </c:pt>
                <c:pt idx="8">
                  <c:v>722</c:v>
                </c:pt>
                <c:pt idx="9">
                  <c:v>1143</c:v>
                </c:pt>
                <c:pt idx="10">
                  <c:v>1275</c:v>
                </c:pt>
                <c:pt idx="11">
                  <c:v>15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F35-4C1F-9442-63C574F49D07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axId val="1645401071"/>
        <c:axId val="1645402031"/>
      </c:barChart>
      <c:catAx>
        <c:axId val="1645401071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45402031"/>
        <c:crosses val="autoZero"/>
        <c:auto val="1"/>
        <c:lblAlgn val="ctr"/>
        <c:lblOffset val="100"/>
        <c:noMultiLvlLbl val="0"/>
      </c:catAx>
      <c:valAx>
        <c:axId val="1645402031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64540107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063796636696121"/>
          <c:y val="2.8181267473045651E-2"/>
          <c:w val="0.76858434519112906"/>
          <c:h val="0.92919004701191366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C$1</c:f>
              <c:strCache>
                <c:ptCount val="1"/>
                <c:pt idx="0">
                  <c:v># of startup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General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Other</c:v>
                </c:pt>
                <c:pt idx="1">
                  <c:v>Semiconductor manufacturing equipment</c:v>
                </c:pt>
                <c:pt idx="2">
                  <c:v>Electronic equipment</c:v>
                </c:pt>
                <c:pt idx="3">
                  <c:v>Micro electronics</c:v>
                </c:pt>
                <c:pt idx="4">
                  <c:v>Mixed signal semiconductor</c:v>
                </c:pt>
                <c:pt idx="5">
                  <c:v>Connectivity, IOT</c:v>
                </c:pt>
                <c:pt idx="6">
                  <c:v>Photonics</c:v>
                </c:pt>
                <c:pt idx="7">
                  <c:v>Semiconductor parts and components</c:v>
                </c:pt>
                <c:pt idx="8">
                  <c:v>Quantum</c:v>
                </c:pt>
                <c:pt idx="9">
                  <c:v>Semiconductor chip technology</c:v>
                </c:pt>
                <c:pt idx="10">
                  <c:v>Computing</c:v>
                </c:pt>
                <c:pt idx="11">
                  <c:v>Artificial intelligence</c:v>
                </c:pt>
              </c:strCache>
            </c:strRef>
          </c:cat>
          <c:val>
            <c:numRef>
              <c:f>Sheet1!$C$2:$C$13</c:f>
              <c:numCache>
                <c:formatCode>General</c:formatCode>
                <c:ptCount val="12"/>
                <c:pt idx="0">
                  <c:v>42</c:v>
                </c:pt>
                <c:pt idx="1">
                  <c:v>10</c:v>
                </c:pt>
                <c:pt idx="2">
                  <c:v>11</c:v>
                </c:pt>
                <c:pt idx="3">
                  <c:v>1</c:v>
                </c:pt>
                <c:pt idx="4">
                  <c:v>2</c:v>
                </c:pt>
                <c:pt idx="5">
                  <c:v>6</c:v>
                </c:pt>
                <c:pt idx="6">
                  <c:v>11</c:v>
                </c:pt>
                <c:pt idx="7">
                  <c:v>6</c:v>
                </c:pt>
                <c:pt idx="8">
                  <c:v>12</c:v>
                </c:pt>
                <c:pt idx="9">
                  <c:v>16</c:v>
                </c:pt>
                <c:pt idx="10">
                  <c:v>19</c:v>
                </c:pt>
                <c:pt idx="11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F35-4C1F-9442-63C574F49D07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axId val="1645401071"/>
        <c:axId val="1645402031"/>
      </c:barChart>
      <c:catAx>
        <c:axId val="1645401071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45402031"/>
        <c:crosses val="autoZero"/>
        <c:auto val="1"/>
        <c:lblAlgn val="ctr"/>
        <c:lblOffset val="100"/>
        <c:noMultiLvlLbl val="0"/>
      </c:catAx>
      <c:valAx>
        <c:axId val="1645402031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64540107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063796636696121"/>
          <c:y val="2.8181267473045651E-2"/>
          <c:w val="0.76858434519112906"/>
          <c:h val="0.92919004701191366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D$1</c:f>
              <c:strCache>
                <c:ptCount val="1"/>
                <c:pt idx="0">
                  <c:v># of startup deal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General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Other</c:v>
                </c:pt>
                <c:pt idx="1">
                  <c:v>Semiconductor manufacturing equipment</c:v>
                </c:pt>
                <c:pt idx="2">
                  <c:v>Electronic equipment</c:v>
                </c:pt>
                <c:pt idx="3">
                  <c:v>Micro electronics</c:v>
                </c:pt>
                <c:pt idx="4">
                  <c:v>Mixed signal semiconductor</c:v>
                </c:pt>
                <c:pt idx="5">
                  <c:v>Connectivity, IOT</c:v>
                </c:pt>
                <c:pt idx="6">
                  <c:v>Photonics</c:v>
                </c:pt>
                <c:pt idx="7">
                  <c:v>Semiconductor parts and components</c:v>
                </c:pt>
                <c:pt idx="8">
                  <c:v>Quantum</c:v>
                </c:pt>
                <c:pt idx="9">
                  <c:v>Semiconductor chip technology</c:v>
                </c:pt>
                <c:pt idx="10">
                  <c:v>Computing</c:v>
                </c:pt>
                <c:pt idx="11">
                  <c:v>Artificial intelligence</c:v>
                </c:pt>
              </c:strCache>
            </c:strRef>
          </c:cat>
          <c:val>
            <c:numRef>
              <c:f>Sheet1!$D$2:$D$13</c:f>
              <c:numCache>
                <c:formatCode>General</c:formatCode>
                <c:ptCount val="12"/>
                <c:pt idx="0">
                  <c:v>68</c:v>
                </c:pt>
                <c:pt idx="1">
                  <c:v>19</c:v>
                </c:pt>
                <c:pt idx="2">
                  <c:v>17</c:v>
                </c:pt>
                <c:pt idx="3">
                  <c:v>3</c:v>
                </c:pt>
                <c:pt idx="4">
                  <c:v>5</c:v>
                </c:pt>
                <c:pt idx="5">
                  <c:v>17</c:v>
                </c:pt>
                <c:pt idx="6">
                  <c:v>21</c:v>
                </c:pt>
                <c:pt idx="7">
                  <c:v>11</c:v>
                </c:pt>
                <c:pt idx="8">
                  <c:v>28</c:v>
                </c:pt>
                <c:pt idx="9">
                  <c:v>33</c:v>
                </c:pt>
                <c:pt idx="10">
                  <c:v>36</c:v>
                </c:pt>
                <c:pt idx="11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451-408A-B771-D4BA431EC70F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axId val="1645401071"/>
        <c:axId val="1645402031"/>
      </c:barChart>
      <c:catAx>
        <c:axId val="1645401071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45402031"/>
        <c:crosses val="autoZero"/>
        <c:auto val="1"/>
        <c:lblAlgn val="ctr"/>
        <c:lblOffset val="100"/>
        <c:noMultiLvlLbl val="0"/>
      </c:catAx>
      <c:valAx>
        <c:axId val="1645402031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64540107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omments/modernComment_127_0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5612CA98-820F-4E45-8DE6-AE6F39C692BA}" authorId="{EC28B4B0-6701-2EAD-4AFD-41CFFF8EDE08}" created="2025-05-19T21:25:58.572">
    <pc:sldMkLst xmlns:pc="http://schemas.microsoft.com/office/powerpoint/2013/main/command">
      <pc:docMk/>
      <pc:sldMk cId="0" sldId="295"/>
    </pc:sldMkLst>
    <p188:txBody>
      <a:bodyPr/>
      <a:lstStyle/>
      <a:p>
        <a:r>
          <a:rPr lang="en-US"/>
          <a:t>Add placeholder for a 4th chart</a:t>
        </a:r>
      </a:p>
    </p188:txBody>
  </p188:cm>
</p188:cmLst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6" name="Google Shape;946;g2ecbd9d9bc7_0_102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47" name="Google Shape;947;g2ecbd9d9bc7_0_102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Google Shape;15;p32"/>
          <p:cNvSpPr txBox="1">
            <a:spLocks noGrp="1"/>
          </p:cNvSpPr>
          <p:nvPr>
            <p:ph type="title"/>
          </p:nvPr>
        </p:nvSpPr>
        <p:spPr>
          <a:xfrm>
            <a:off x="311700" y="2150850"/>
            <a:ext cx="8520600" cy="84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9pPr>
          </a:lstStyle>
          <a:p>
            <a:endParaRPr/>
          </a:p>
        </p:txBody>
      </p:sp>
      <p:sp>
        <p:nvSpPr>
          <p:cNvPr id="16" name="Google Shape;16;p32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Google Shape;50;p41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Generated Slide 1_1_1_B">
  <p:cSld name="Generated Slide 1_1_1_B">
    <p:spTree>
      <p:nvGrpSpPr>
        <p:cNvPr id="1" name="Shape 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Google Shape;52;p42"/>
          <p:cNvSpPr>
            <a:spLocks noGrp="1"/>
          </p:cNvSpPr>
          <p:nvPr>
            <p:ph type="pic" idx="2"/>
          </p:nvPr>
        </p:nvSpPr>
        <p:spPr>
          <a:xfrm>
            <a:off x="4517136" y="475488"/>
            <a:ext cx="4188000" cy="4188000"/>
          </a:xfrm>
          <a:prstGeom prst="roundRect">
            <a:avLst>
              <a:gd name="adj" fmla="val 8475"/>
            </a:avLst>
          </a:prstGeom>
          <a:noFill/>
          <a:ln>
            <a:noFill/>
          </a:ln>
        </p:spPr>
      </p:sp>
      <p:sp>
        <p:nvSpPr>
          <p:cNvPr id="53" name="Google Shape;53;p42"/>
          <p:cNvSpPr txBox="1">
            <a:spLocks noGrp="1"/>
          </p:cNvSpPr>
          <p:nvPr>
            <p:ph type="title"/>
          </p:nvPr>
        </p:nvSpPr>
        <p:spPr>
          <a:xfrm>
            <a:off x="548650" y="576075"/>
            <a:ext cx="3556800" cy="86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54" name="Google Shape;54;p42"/>
          <p:cNvSpPr txBox="1">
            <a:spLocks noGrp="1"/>
          </p:cNvSpPr>
          <p:nvPr>
            <p:ph type="body" idx="1"/>
          </p:nvPr>
        </p:nvSpPr>
        <p:spPr>
          <a:xfrm>
            <a:off x="438912" y="1655064"/>
            <a:ext cx="3666600" cy="2871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marL="457200" lvl="0" indent="-3429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cxnSp>
        <p:nvCxnSpPr>
          <p:cNvPr id="55" name="Google Shape;55;p42"/>
          <p:cNvCxnSpPr/>
          <p:nvPr/>
        </p:nvCxnSpPr>
        <p:spPr>
          <a:xfrm>
            <a:off x="530352" y="402336"/>
            <a:ext cx="1059900" cy="0"/>
          </a:xfrm>
          <a:prstGeom prst="straightConnector1">
            <a:avLst/>
          </a:prstGeom>
          <a:noFill/>
          <a:ln w="9525" cap="flat" cmpd="sng">
            <a:solidFill>
              <a:srgbClr val="595959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56" name="Google Shape;56;p42"/>
          <p:cNvCxnSpPr/>
          <p:nvPr/>
        </p:nvCxnSpPr>
        <p:spPr>
          <a:xfrm>
            <a:off x="530352" y="4745736"/>
            <a:ext cx="1059900" cy="0"/>
          </a:xfrm>
          <a:prstGeom prst="straightConnector1">
            <a:avLst/>
          </a:prstGeom>
          <a:noFill/>
          <a:ln w="9525" cap="flat" cmpd="sng">
            <a:solidFill>
              <a:srgbClr val="595959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_AND_BODY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Google Shape;18;p33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9" name="Google Shape;19;p33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20" name="Google Shape;20;p33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_AND_TWO_COLUMNS">
    <p:spTree>
      <p:nvGrpSpPr>
        <p:cNvPr id="1" name="Shape 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Google Shape;22;p34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3" name="Google Shape;23;p34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39999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4" name="Google Shape;24;p34"/>
          <p:cNvSpPr txBox="1">
            <a:spLocks noGrp="1"/>
          </p:cNvSpPr>
          <p:nvPr>
            <p:ph type="body" idx="2"/>
          </p:nvPr>
        </p:nvSpPr>
        <p:spPr>
          <a:xfrm>
            <a:off x="4832400" y="1152475"/>
            <a:ext cx="39999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5" name="Google Shape;25;p34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Google Shape;27;p35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8" name="Google Shape;28;p35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 column text">
    <p:spTree>
      <p:nvGrpSpPr>
        <p:cNvPr id="1" name="Shape 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Google Shape;30;p36"/>
          <p:cNvSpPr txBox="1">
            <a:spLocks noGrp="1"/>
          </p:cNvSpPr>
          <p:nvPr>
            <p:ph type="title"/>
          </p:nvPr>
        </p:nvSpPr>
        <p:spPr>
          <a:xfrm>
            <a:off x="311700" y="555600"/>
            <a:ext cx="2808000" cy="75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31" name="Google Shape;31;p36"/>
          <p:cNvSpPr txBox="1">
            <a:spLocks noGrp="1"/>
          </p:cNvSpPr>
          <p:nvPr>
            <p:ph type="body" idx="1"/>
          </p:nvPr>
        </p:nvSpPr>
        <p:spPr>
          <a:xfrm>
            <a:off x="311700" y="1389600"/>
            <a:ext cx="2808000" cy="3179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1pPr>
            <a:lvl2pPr marL="914400" lvl="1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32" name="Google Shape;32;p36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 point">
    <p:spTree>
      <p:nvGrpSpPr>
        <p:cNvPr id="1" name="Shape 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Google Shape;34;p37"/>
          <p:cNvSpPr txBox="1">
            <a:spLocks noGrp="1"/>
          </p:cNvSpPr>
          <p:nvPr>
            <p:ph type="title"/>
          </p:nvPr>
        </p:nvSpPr>
        <p:spPr>
          <a:xfrm>
            <a:off x="490250" y="450150"/>
            <a:ext cx="6367800" cy="409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9pPr>
          </a:lstStyle>
          <a:p>
            <a:endParaRPr/>
          </a:p>
        </p:txBody>
      </p:sp>
      <p:sp>
        <p:nvSpPr>
          <p:cNvPr id="35" name="Google Shape;35;p37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 title and description">
    <p:spTree>
      <p:nvGrpSpPr>
        <p:cNvPr id="1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Google Shape;37;p38"/>
          <p:cNvSpPr/>
          <p:nvPr/>
        </p:nvSpPr>
        <p:spPr>
          <a:xfrm>
            <a:off x="4572000" y="-125"/>
            <a:ext cx="4572000" cy="51435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8" name="Google Shape;38;p38"/>
          <p:cNvSpPr txBox="1">
            <a:spLocks noGrp="1"/>
          </p:cNvSpPr>
          <p:nvPr>
            <p:ph type="title"/>
          </p:nvPr>
        </p:nvSpPr>
        <p:spPr>
          <a:xfrm>
            <a:off x="265500" y="1233175"/>
            <a:ext cx="4045200" cy="148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9pPr>
          </a:lstStyle>
          <a:p>
            <a:endParaRPr/>
          </a:p>
        </p:txBody>
      </p:sp>
      <p:sp>
        <p:nvSpPr>
          <p:cNvPr id="39" name="Google Shape;39;p38"/>
          <p:cNvSpPr txBox="1">
            <a:spLocks noGrp="1"/>
          </p:cNvSpPr>
          <p:nvPr>
            <p:ph type="subTitle" idx="1"/>
          </p:nvPr>
        </p:nvSpPr>
        <p:spPr>
          <a:xfrm>
            <a:off x="265500" y="2803075"/>
            <a:ext cx="4045200" cy="123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sp>
        <p:nvSpPr>
          <p:cNvPr id="40" name="Google Shape;40;p38"/>
          <p:cNvSpPr txBox="1">
            <a:spLocks noGrp="1"/>
          </p:cNvSpPr>
          <p:nvPr>
            <p:ph type="body" idx="2"/>
          </p:nvPr>
        </p:nvSpPr>
        <p:spPr>
          <a:xfrm>
            <a:off x="4939500" y="724075"/>
            <a:ext cx="3837000" cy="369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3429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1" name="Google Shape;41;p38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">
    <p:spTree>
      <p:nvGrpSpPr>
        <p:cNvPr id="1" name="Shape 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Google Shape;43;p39"/>
          <p:cNvSpPr txBox="1">
            <a:spLocks noGrp="1"/>
          </p:cNvSpPr>
          <p:nvPr>
            <p:ph type="body" idx="1"/>
          </p:nvPr>
        </p:nvSpPr>
        <p:spPr>
          <a:xfrm>
            <a:off x="311700" y="4230575"/>
            <a:ext cx="5998800" cy="60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  <a:lvl2pPr marL="914400" lvl="1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4" name="Google Shape;44;p39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 number">
    <p:spTree>
      <p:nvGrpSpPr>
        <p:cNvPr id="1" name="Shape 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Google Shape;46;p40"/>
          <p:cNvSpPr txBox="1">
            <a:spLocks noGrp="1"/>
          </p:cNvSpPr>
          <p:nvPr>
            <p:ph type="title"/>
          </p:nvPr>
        </p:nvSpPr>
        <p:spPr>
          <a:xfrm>
            <a:off x="311700" y="1106125"/>
            <a:ext cx="8520600" cy="196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9pPr>
          </a:lstStyle>
          <a:p>
            <a:endParaRPr/>
          </a:p>
        </p:txBody>
      </p:sp>
      <p:sp>
        <p:nvSpPr>
          <p:cNvPr id="47" name="Google Shape;47;p40"/>
          <p:cNvSpPr txBox="1">
            <a:spLocks noGrp="1"/>
          </p:cNvSpPr>
          <p:nvPr>
            <p:ph type="body" idx="1"/>
          </p:nvPr>
        </p:nvSpPr>
        <p:spPr>
          <a:xfrm>
            <a:off x="311700" y="3152225"/>
            <a:ext cx="8520600" cy="130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8" name="Google Shape;48;p40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111557D-8B0C-00A1-6530-FFA39BC272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9303060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69" imgH="469" progId="TCLayout.ActiveDocument.1">
                  <p:embed/>
                </p:oleObj>
              </mc:Choice>
              <mc:Fallback>
                <p:oleObj name="think-cell Slide" r:id="rId14" imgW="469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29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7" name="Google Shape;7;p29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●"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" name="Google Shape;8;p29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51" r:id="rId1"/>
    <p:sldLayoutId id="2147483652" r:id="rId2"/>
    <p:sldLayoutId id="2147483653" r:id="rId3"/>
    <p:sldLayoutId id="2147483654" r:id="rId4"/>
    <p:sldLayoutId id="2147483655" r:id="rId5"/>
    <p:sldLayoutId id="2147483656" r:id="rId6"/>
    <p:sldLayoutId id="2147483657" r:id="rId7"/>
    <p:sldLayoutId id="2147483658" r:id="rId8"/>
    <p:sldLayoutId id="2147483659" r:id="rId9"/>
    <p:sldLayoutId id="2147483660" r:id="rId10"/>
    <p:sldLayoutId id="2147483661" r:id="rId1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127_0.xml"/><Relationship Id="rId7" Type="http://schemas.openxmlformats.org/officeDocument/2006/relationships/chart" Target="../charts/chart3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chart" Target="../charts/chart2.xml"/><Relationship Id="rId5" Type="http://schemas.openxmlformats.org/officeDocument/2006/relationships/chart" Target="../charts/chart1.xml"/><Relationship Id="rId4" Type="http://schemas.openxmlformats.org/officeDocument/2006/relationships/image" Target="../media/image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9" name="Google Shape;949;g2ecbd9d9bc7_0_1026"/>
          <p:cNvSpPr/>
          <p:nvPr/>
        </p:nvSpPr>
        <p:spPr>
          <a:xfrm rot="10800000">
            <a:off x="3969300" y="-100"/>
            <a:ext cx="5174700" cy="429900"/>
          </a:xfrm>
          <a:prstGeom prst="rtTriangle">
            <a:avLst/>
          </a:prstGeom>
          <a:gradFill>
            <a:gsLst>
              <a:gs pos="0">
                <a:schemeClr val="dk1"/>
              </a:gs>
              <a:gs pos="100000">
                <a:schemeClr val="accent5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950" name="Google Shape;950;g2ecbd9d9bc7_0_1026"/>
          <p:cNvPicPr preferRelativeResize="0"/>
          <p:nvPr/>
        </p:nvPicPr>
        <p:blipFill rotWithShape="1">
          <a:blip r:embed="rId4">
            <a:alphaModFix/>
          </a:blip>
          <a:srcRect l="19807"/>
          <a:stretch/>
        </p:blipFill>
        <p:spPr>
          <a:xfrm>
            <a:off x="8156925" y="4740899"/>
            <a:ext cx="684681" cy="144999"/>
          </a:xfrm>
          <a:prstGeom prst="rect">
            <a:avLst/>
          </a:prstGeom>
          <a:noFill/>
          <a:ln>
            <a:noFill/>
          </a:ln>
        </p:spPr>
      </p:pic>
      <p:sp>
        <p:nvSpPr>
          <p:cNvPr id="951" name="Google Shape;951;g2ecbd9d9bc7_0_1026"/>
          <p:cNvSpPr txBox="1"/>
          <p:nvPr/>
        </p:nvSpPr>
        <p:spPr>
          <a:xfrm>
            <a:off x="457200" y="4740899"/>
            <a:ext cx="548700" cy="17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-US" sz="1000" b="0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1</a:t>
            </a:fld>
            <a:endParaRPr sz="1000" b="0" i="0" u="none" strike="noStrike" cap="none">
              <a:solidFill>
                <a:schemeClr val="dk2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952" name="Google Shape;952;g2ecbd9d9bc7_0_1026"/>
          <p:cNvSpPr txBox="1"/>
          <p:nvPr/>
        </p:nvSpPr>
        <p:spPr>
          <a:xfrm>
            <a:off x="457200" y="499596"/>
            <a:ext cx="8267700" cy="30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800" b="0" i="0" u="none" strike="noStrike" cap="none">
                <a:solidFill>
                  <a:schemeClr val="dk1"/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Artificial intelligence, computing, and semiconductor chip technology are the most active startup segments</a:t>
            </a:r>
            <a:r>
              <a:rPr lang="en-US" sz="1800" b="0" i="0" u="none" strike="noStrike" cap="none">
                <a:solidFill>
                  <a:schemeClr val="accent4"/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.</a:t>
            </a:r>
            <a:endParaRPr sz="1800" b="0" i="0" u="none" strike="noStrike" cap="none">
              <a:solidFill>
                <a:schemeClr val="accent4"/>
              </a:solidFill>
              <a:latin typeface="Playfair Display SemiBold"/>
              <a:ea typeface="Playfair Display SemiBold"/>
              <a:cs typeface="Playfair Display SemiBold"/>
              <a:sym typeface="Playfair Display SemiBold"/>
            </a:endParaRPr>
          </a:p>
        </p:txBody>
      </p:sp>
      <p:sp>
        <p:nvSpPr>
          <p:cNvPr id="953" name="Google Shape;953;g2ecbd9d9bc7_0_1026"/>
          <p:cNvSpPr txBox="1"/>
          <p:nvPr/>
        </p:nvSpPr>
        <p:spPr>
          <a:xfrm>
            <a:off x="839892" y="4857750"/>
            <a:ext cx="7166100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0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Source: Pitchbook. Startups defined as companies founded in 2017 or later. Only deals in 2017 or later are included.</a:t>
            </a:r>
            <a:endParaRPr/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AA5B876A-8BC2-1056-532E-A1141CACB87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4271014"/>
              </p:ext>
            </p:extLst>
          </p:nvPr>
        </p:nvGraphicFramePr>
        <p:xfrm>
          <a:off x="483120" y="1143397"/>
          <a:ext cx="8177759" cy="359750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87300">
                  <a:extLst>
                    <a:ext uri="{9D8B030D-6E8A-4147-A177-3AD203B41FA5}">
                      <a16:colId xmlns:a16="http://schemas.microsoft.com/office/drawing/2014/main" val="1139056911"/>
                    </a:ext>
                  </a:extLst>
                </a:gridCol>
                <a:gridCol w="1830153">
                  <a:extLst>
                    <a:ext uri="{9D8B030D-6E8A-4147-A177-3AD203B41FA5}">
                      <a16:colId xmlns:a16="http://schemas.microsoft.com/office/drawing/2014/main" val="3241509427"/>
                    </a:ext>
                  </a:extLst>
                </a:gridCol>
                <a:gridCol w="1830153">
                  <a:extLst>
                    <a:ext uri="{9D8B030D-6E8A-4147-A177-3AD203B41FA5}">
                      <a16:colId xmlns:a16="http://schemas.microsoft.com/office/drawing/2014/main" val="1342412152"/>
                    </a:ext>
                  </a:extLst>
                </a:gridCol>
                <a:gridCol w="1830153">
                  <a:extLst>
                    <a:ext uri="{9D8B030D-6E8A-4147-A177-3AD203B41FA5}">
                      <a16:colId xmlns:a16="http://schemas.microsoft.com/office/drawing/2014/main" val="109222739"/>
                    </a:ext>
                  </a:extLst>
                </a:gridCol>
              </a:tblGrid>
              <a:tr h="276731">
                <a:tc>
                  <a:txBody>
                    <a:bodyPr/>
                    <a:lstStyle/>
                    <a:p>
                      <a:pPr marR="0" algn="r" rtl="0" fontAlgn="b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US" sz="1000" b="1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Exo" panose="020B0604020202020204" charset="0"/>
                          <a:ea typeface="+mn-ea"/>
                          <a:cs typeface="Exo" panose="020B0604020202020204" charset="0"/>
                          <a:sym typeface="Arial"/>
                        </a:rPr>
                        <a:t>Category</a:t>
                      </a:r>
                    </a:p>
                  </a:txBody>
                  <a:tcPr marL="45720" marR="45720"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R="0" algn="l" rtl="0" fontAlgn="b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US" sz="1000" b="1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Exo" panose="020B0604020202020204" charset="0"/>
                          <a:ea typeface="+mn-ea"/>
                          <a:cs typeface="Exo" panose="020B0604020202020204" charset="0"/>
                          <a:sym typeface="Arial"/>
                        </a:rPr>
                        <a:t>Total VC funding</a:t>
                      </a:r>
                    </a:p>
                  </a:txBody>
                  <a:tcPr marL="45720" marR="45720"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R="0" algn="l" rtl="0" fontAlgn="b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US" sz="1000" b="1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Exo" panose="020B0604020202020204" charset="0"/>
                          <a:ea typeface="+mn-ea"/>
                          <a:cs typeface="Exo" panose="020B0604020202020204" charset="0"/>
                          <a:sym typeface="Arial"/>
                        </a:rPr>
                        <a:t># of startups</a:t>
                      </a:r>
                    </a:p>
                  </a:txBody>
                  <a:tcPr marL="45720" marR="45720"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R="0" algn="l" rtl="0" fontAlgn="b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US" sz="1000" b="1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Exo" panose="020B0604020202020204" charset="0"/>
                          <a:ea typeface="+mn-ea"/>
                          <a:cs typeface="Exo" panose="020B0604020202020204" charset="0"/>
                          <a:sym typeface="Arial"/>
                        </a:rPr>
                        <a:t># of startup deals</a:t>
                      </a:r>
                    </a:p>
                  </a:txBody>
                  <a:tcPr marL="45720" marR="45720"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21040300"/>
                  </a:ext>
                </a:extLst>
              </a:tr>
              <a:tr h="276731"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Exo" panose="020B0604020202020204" charset="0"/>
                          <a:cs typeface="Exo" panose="020B0604020202020204" charset="0"/>
                        </a:rPr>
                        <a:t>Artificial intelligence</a:t>
                      </a:r>
                    </a:p>
                  </a:txBody>
                  <a:tcPr marL="45720" marR="45720" anchor="b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Exo" panose="020B0604020202020204" charset="0"/>
                        <a:cs typeface="Exo" panose="020B0604020202020204" charset="0"/>
                      </a:endParaRPr>
                    </a:p>
                  </a:txBody>
                  <a:tcPr marL="45720" marR="45720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Exo" panose="020B0604020202020204" charset="0"/>
                        <a:cs typeface="Exo" panose="020B0604020202020204" charset="0"/>
                      </a:endParaRPr>
                    </a:p>
                  </a:txBody>
                  <a:tcPr marL="45720" marR="45720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>
                        <a:latin typeface="Exo" panose="020B0604020202020204" charset="0"/>
                        <a:cs typeface="Exo" panose="020B0604020202020204" charset="0"/>
                      </a:endParaRPr>
                    </a:p>
                  </a:txBody>
                  <a:tcPr marL="45720" marR="45720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93641791"/>
                  </a:ext>
                </a:extLst>
              </a:tr>
              <a:tr h="276731"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Exo" panose="020B0604020202020204" charset="0"/>
                          <a:cs typeface="Exo" panose="020B0604020202020204" charset="0"/>
                        </a:rPr>
                        <a:t>Computing</a:t>
                      </a:r>
                    </a:p>
                  </a:txBody>
                  <a:tcPr marL="45720" marR="45720" anchor="b">
                    <a:lnT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>
                        <a:latin typeface="Exo" panose="020B0604020202020204" charset="0"/>
                        <a:cs typeface="Exo" panose="020B0604020202020204" charset="0"/>
                      </a:endParaRPr>
                    </a:p>
                  </a:txBody>
                  <a:tcPr marL="45720" marR="45720">
                    <a:lnT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Exo" panose="020B0604020202020204" charset="0"/>
                        <a:cs typeface="Exo" panose="020B0604020202020204" charset="0"/>
                      </a:endParaRPr>
                    </a:p>
                  </a:txBody>
                  <a:tcPr marL="45720" marR="45720">
                    <a:lnT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>
                        <a:latin typeface="Exo" panose="020B0604020202020204" charset="0"/>
                        <a:cs typeface="Exo" panose="020B0604020202020204" charset="0"/>
                      </a:endParaRPr>
                    </a:p>
                  </a:txBody>
                  <a:tcPr marL="45720" marR="45720">
                    <a:lnT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758574"/>
                  </a:ext>
                </a:extLst>
              </a:tr>
              <a:tr h="276731"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Exo" panose="020B0604020202020204" charset="0"/>
                          <a:cs typeface="Exo" panose="020B0604020202020204" charset="0"/>
                        </a:rPr>
                        <a:t>Semiconductor chip technology</a:t>
                      </a:r>
                    </a:p>
                  </a:txBody>
                  <a:tcPr marL="45720" marR="45720" anchor="b">
                    <a:lnT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>
                        <a:latin typeface="Exo" panose="020B0604020202020204" charset="0"/>
                        <a:cs typeface="Exo" panose="020B0604020202020204" charset="0"/>
                      </a:endParaRPr>
                    </a:p>
                  </a:txBody>
                  <a:tcPr marL="45720" marR="45720">
                    <a:lnT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Exo" panose="020B0604020202020204" charset="0"/>
                        <a:cs typeface="Exo" panose="020B0604020202020204" charset="0"/>
                      </a:endParaRPr>
                    </a:p>
                  </a:txBody>
                  <a:tcPr marL="45720" marR="45720">
                    <a:lnT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>
                        <a:latin typeface="Exo" panose="020B0604020202020204" charset="0"/>
                        <a:cs typeface="Exo" panose="020B0604020202020204" charset="0"/>
                      </a:endParaRPr>
                    </a:p>
                  </a:txBody>
                  <a:tcPr marL="45720" marR="45720">
                    <a:lnT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03298419"/>
                  </a:ext>
                </a:extLst>
              </a:tr>
              <a:tr h="276731"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Exo" panose="020B0604020202020204" charset="0"/>
                          <a:cs typeface="Exo" panose="020B0604020202020204" charset="0"/>
                        </a:rPr>
                        <a:t>Quantum</a:t>
                      </a:r>
                    </a:p>
                  </a:txBody>
                  <a:tcPr marL="45720" marR="45720" anchor="b">
                    <a:lnT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>
                        <a:latin typeface="Exo" panose="020B0604020202020204" charset="0"/>
                        <a:cs typeface="Exo" panose="020B0604020202020204" charset="0"/>
                      </a:endParaRPr>
                    </a:p>
                  </a:txBody>
                  <a:tcPr marL="45720" marR="45720">
                    <a:lnT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Exo" panose="020B0604020202020204" charset="0"/>
                        <a:cs typeface="Exo" panose="020B0604020202020204" charset="0"/>
                      </a:endParaRPr>
                    </a:p>
                  </a:txBody>
                  <a:tcPr marL="45720" marR="45720">
                    <a:lnT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>
                        <a:latin typeface="Exo" panose="020B0604020202020204" charset="0"/>
                        <a:cs typeface="Exo" panose="020B0604020202020204" charset="0"/>
                      </a:endParaRPr>
                    </a:p>
                  </a:txBody>
                  <a:tcPr marL="45720" marR="45720">
                    <a:lnT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1718604"/>
                  </a:ext>
                </a:extLst>
              </a:tr>
              <a:tr h="276731"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Exo" panose="020B0604020202020204" charset="0"/>
                          <a:cs typeface="Exo" panose="020B0604020202020204" charset="0"/>
                        </a:rPr>
                        <a:t>Semiconductor parts and components</a:t>
                      </a:r>
                    </a:p>
                  </a:txBody>
                  <a:tcPr marL="45720" marR="45720" anchor="b">
                    <a:lnT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>
                        <a:latin typeface="Exo" panose="020B0604020202020204" charset="0"/>
                        <a:cs typeface="Exo" panose="020B0604020202020204" charset="0"/>
                      </a:endParaRPr>
                    </a:p>
                  </a:txBody>
                  <a:tcPr marL="45720" marR="45720">
                    <a:lnT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Exo" panose="020B0604020202020204" charset="0"/>
                        <a:cs typeface="Exo" panose="020B0604020202020204" charset="0"/>
                      </a:endParaRPr>
                    </a:p>
                  </a:txBody>
                  <a:tcPr marL="45720" marR="45720">
                    <a:lnT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>
                        <a:latin typeface="Exo" panose="020B0604020202020204" charset="0"/>
                        <a:cs typeface="Exo" panose="020B0604020202020204" charset="0"/>
                      </a:endParaRPr>
                    </a:p>
                  </a:txBody>
                  <a:tcPr marL="45720" marR="45720">
                    <a:lnT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71360541"/>
                  </a:ext>
                </a:extLst>
              </a:tr>
              <a:tr h="276731"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Exo" panose="020B0604020202020204" charset="0"/>
                          <a:cs typeface="Exo" panose="020B0604020202020204" charset="0"/>
                        </a:rPr>
                        <a:t>Photonics</a:t>
                      </a:r>
                    </a:p>
                  </a:txBody>
                  <a:tcPr marL="45720" marR="45720" anchor="b">
                    <a:lnT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>
                        <a:latin typeface="Exo" panose="020B0604020202020204" charset="0"/>
                        <a:cs typeface="Exo" panose="020B0604020202020204" charset="0"/>
                      </a:endParaRPr>
                    </a:p>
                  </a:txBody>
                  <a:tcPr marL="45720" marR="45720">
                    <a:lnT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Exo" panose="020B0604020202020204" charset="0"/>
                        <a:cs typeface="Exo" panose="020B0604020202020204" charset="0"/>
                      </a:endParaRPr>
                    </a:p>
                  </a:txBody>
                  <a:tcPr marL="45720" marR="45720">
                    <a:lnT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>
                        <a:latin typeface="Exo" panose="020B0604020202020204" charset="0"/>
                        <a:cs typeface="Exo" panose="020B0604020202020204" charset="0"/>
                      </a:endParaRPr>
                    </a:p>
                  </a:txBody>
                  <a:tcPr marL="45720" marR="45720">
                    <a:lnT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8995130"/>
                  </a:ext>
                </a:extLst>
              </a:tr>
              <a:tr h="276731"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Exo" panose="020B0604020202020204" charset="0"/>
                          <a:cs typeface="Exo" panose="020B0604020202020204" charset="0"/>
                        </a:rPr>
                        <a:t>Connectivity, IOT</a:t>
                      </a:r>
                    </a:p>
                  </a:txBody>
                  <a:tcPr marL="45720" marR="45720" anchor="b">
                    <a:lnT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>
                        <a:latin typeface="Exo" panose="020B0604020202020204" charset="0"/>
                        <a:cs typeface="Exo" panose="020B0604020202020204" charset="0"/>
                      </a:endParaRPr>
                    </a:p>
                  </a:txBody>
                  <a:tcPr marL="45720" marR="45720">
                    <a:lnT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Exo" panose="020B0604020202020204" charset="0"/>
                        <a:cs typeface="Exo" panose="020B0604020202020204" charset="0"/>
                      </a:endParaRPr>
                    </a:p>
                  </a:txBody>
                  <a:tcPr marL="45720" marR="45720">
                    <a:lnT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Exo" panose="020B0604020202020204" charset="0"/>
                        <a:cs typeface="Exo" panose="020B0604020202020204" charset="0"/>
                      </a:endParaRPr>
                    </a:p>
                  </a:txBody>
                  <a:tcPr marL="45720" marR="45720">
                    <a:lnT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98735742"/>
                  </a:ext>
                </a:extLst>
              </a:tr>
              <a:tr h="276731"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Exo" panose="020B0604020202020204" charset="0"/>
                          <a:cs typeface="Exo" panose="020B0604020202020204" charset="0"/>
                        </a:rPr>
                        <a:t>Mixed signal semiconductor</a:t>
                      </a:r>
                    </a:p>
                  </a:txBody>
                  <a:tcPr marL="45720" marR="45720" anchor="b">
                    <a:lnT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>
                        <a:latin typeface="Exo" panose="020B0604020202020204" charset="0"/>
                        <a:cs typeface="Exo" panose="020B0604020202020204" charset="0"/>
                      </a:endParaRPr>
                    </a:p>
                  </a:txBody>
                  <a:tcPr marL="45720" marR="45720">
                    <a:lnT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Exo" panose="020B0604020202020204" charset="0"/>
                        <a:cs typeface="Exo" panose="020B0604020202020204" charset="0"/>
                      </a:endParaRPr>
                    </a:p>
                  </a:txBody>
                  <a:tcPr marL="45720" marR="45720">
                    <a:lnT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>
                        <a:latin typeface="Exo" panose="020B0604020202020204" charset="0"/>
                        <a:cs typeface="Exo" panose="020B0604020202020204" charset="0"/>
                      </a:endParaRPr>
                    </a:p>
                  </a:txBody>
                  <a:tcPr marL="45720" marR="45720">
                    <a:lnT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7669542"/>
                  </a:ext>
                </a:extLst>
              </a:tr>
              <a:tr h="276731"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Exo" panose="020B0604020202020204" charset="0"/>
                          <a:cs typeface="Exo" panose="020B0604020202020204" charset="0"/>
                        </a:rPr>
                        <a:t>Micro electronics</a:t>
                      </a:r>
                    </a:p>
                  </a:txBody>
                  <a:tcPr marL="45720" marR="45720" anchor="b">
                    <a:lnT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>
                        <a:latin typeface="Exo" panose="020B0604020202020204" charset="0"/>
                        <a:cs typeface="Exo" panose="020B0604020202020204" charset="0"/>
                      </a:endParaRPr>
                    </a:p>
                  </a:txBody>
                  <a:tcPr marL="45720" marR="45720">
                    <a:lnT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Exo" panose="020B0604020202020204" charset="0"/>
                        <a:cs typeface="Exo" panose="020B0604020202020204" charset="0"/>
                      </a:endParaRPr>
                    </a:p>
                  </a:txBody>
                  <a:tcPr marL="45720" marR="45720">
                    <a:lnT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>
                        <a:latin typeface="Exo" panose="020B0604020202020204" charset="0"/>
                        <a:cs typeface="Exo" panose="020B0604020202020204" charset="0"/>
                      </a:endParaRPr>
                    </a:p>
                  </a:txBody>
                  <a:tcPr marL="45720" marR="45720">
                    <a:lnT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4711587"/>
                  </a:ext>
                </a:extLst>
              </a:tr>
              <a:tr h="276731"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Exo" panose="020B0604020202020204" charset="0"/>
                          <a:cs typeface="Exo" panose="020B0604020202020204" charset="0"/>
                        </a:rPr>
                        <a:t>Electronic equipment</a:t>
                      </a:r>
                    </a:p>
                  </a:txBody>
                  <a:tcPr marL="45720" marR="45720" anchor="b">
                    <a:lnT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>
                        <a:latin typeface="Exo" panose="020B0604020202020204" charset="0"/>
                        <a:cs typeface="Exo" panose="020B0604020202020204" charset="0"/>
                      </a:endParaRPr>
                    </a:p>
                  </a:txBody>
                  <a:tcPr marL="45720" marR="45720">
                    <a:lnT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Exo" panose="020B0604020202020204" charset="0"/>
                        <a:cs typeface="Exo" panose="020B0604020202020204" charset="0"/>
                      </a:endParaRPr>
                    </a:p>
                  </a:txBody>
                  <a:tcPr marL="45720" marR="45720">
                    <a:lnT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Exo" panose="020B0604020202020204" charset="0"/>
                        <a:cs typeface="Exo" panose="020B0604020202020204" charset="0"/>
                      </a:endParaRPr>
                    </a:p>
                  </a:txBody>
                  <a:tcPr marL="45720" marR="45720">
                    <a:lnT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90313127"/>
                  </a:ext>
                </a:extLst>
              </a:tr>
              <a:tr h="276731"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Exo" panose="020B0604020202020204" charset="0"/>
                          <a:cs typeface="Exo" panose="020B0604020202020204" charset="0"/>
                        </a:rPr>
                        <a:t>Semiconductor manufacturing equipment</a:t>
                      </a:r>
                    </a:p>
                  </a:txBody>
                  <a:tcPr marL="45720" marR="45720" anchor="b">
                    <a:lnT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>
                        <a:latin typeface="Exo" panose="020B0604020202020204" charset="0"/>
                        <a:cs typeface="Exo" panose="020B0604020202020204" charset="0"/>
                      </a:endParaRPr>
                    </a:p>
                  </a:txBody>
                  <a:tcPr marL="45720" marR="45720">
                    <a:lnT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>
                        <a:latin typeface="Exo" panose="020B0604020202020204" charset="0"/>
                        <a:cs typeface="Exo" panose="020B0604020202020204" charset="0"/>
                      </a:endParaRPr>
                    </a:p>
                  </a:txBody>
                  <a:tcPr marL="45720" marR="45720">
                    <a:lnT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Exo" panose="020B0604020202020204" charset="0"/>
                        <a:cs typeface="Exo" panose="020B0604020202020204" charset="0"/>
                      </a:endParaRPr>
                    </a:p>
                  </a:txBody>
                  <a:tcPr marL="45720" marR="45720">
                    <a:lnT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7102025"/>
                  </a:ext>
                </a:extLst>
              </a:tr>
              <a:tr h="276731"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Exo" panose="020B0604020202020204" charset="0"/>
                          <a:cs typeface="Exo" panose="020B0604020202020204" charset="0"/>
                        </a:rPr>
                        <a:t>Other</a:t>
                      </a:r>
                    </a:p>
                  </a:txBody>
                  <a:tcPr marL="45720" marR="45720" anchor="b">
                    <a:lnT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>
                        <a:latin typeface="Exo" panose="020B0604020202020204" charset="0"/>
                        <a:cs typeface="Exo" panose="020B0604020202020204" charset="0"/>
                      </a:endParaRPr>
                    </a:p>
                  </a:txBody>
                  <a:tcPr marL="45720" marR="45720">
                    <a:lnT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>
                        <a:latin typeface="Exo" panose="020B0604020202020204" charset="0"/>
                        <a:cs typeface="Exo" panose="020B0604020202020204" charset="0"/>
                      </a:endParaRPr>
                    </a:p>
                  </a:txBody>
                  <a:tcPr marL="45720" marR="45720">
                    <a:lnT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Exo" panose="020B0604020202020204" charset="0"/>
                        <a:cs typeface="Exo" panose="020B0604020202020204" charset="0"/>
                      </a:endParaRPr>
                    </a:p>
                  </a:txBody>
                  <a:tcPr marL="45720" marR="45720">
                    <a:lnT w="635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29425473"/>
                  </a:ext>
                </a:extLst>
              </a:tr>
            </a:tbl>
          </a:graphicData>
        </a:graphic>
      </p:graphicFrame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87F7A945-DBF6-72E6-6195-A94F5580427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96592517"/>
              </p:ext>
            </p:extLst>
          </p:nvPr>
        </p:nvGraphicFramePr>
        <p:xfrm>
          <a:off x="3028012" y="1341620"/>
          <a:ext cx="2001187" cy="35161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788FB215-43FD-6A8A-FF43-ED5C06E1B87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98564535"/>
              </p:ext>
            </p:extLst>
          </p:nvPr>
        </p:nvGraphicFramePr>
        <p:xfrm>
          <a:off x="4766871" y="1341620"/>
          <a:ext cx="2001187" cy="35161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E7C457B6-C839-1821-F494-D12717BCE80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68535576"/>
              </p:ext>
            </p:extLst>
          </p:nvPr>
        </p:nvGraphicFramePr>
        <p:xfrm>
          <a:off x="6605509" y="1347283"/>
          <a:ext cx="2001187" cy="35161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Simple Light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4285F4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10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11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2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3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4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5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6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7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8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9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Props1.xml><?xml version="1.0" encoding="utf-8"?>
<ds:datastoreItem xmlns:ds="http://schemas.openxmlformats.org/officeDocument/2006/customXml" ds:itemID="{CA3030CC-D537-4F29-A2C4-1A527A2AE459}">
  <ds:schemaRefs>
    <ds:schemaRef ds:uri="http://www.plsfix.com/xml"/>
  </ds:schemaRefs>
</ds:datastoreItem>
</file>

<file path=customXml/itemProps10.xml><?xml version="1.0" encoding="utf-8"?>
<ds:datastoreItem xmlns:ds="http://schemas.openxmlformats.org/officeDocument/2006/customXml" ds:itemID="{6F288B63-8920-487F-AD7C-04817E0E893A}">
  <ds:schemaRefs>
    <ds:schemaRef ds:uri="http://www.plsfix.com/xml"/>
  </ds:schemaRefs>
</ds:datastoreItem>
</file>

<file path=customXml/itemProps11.xml><?xml version="1.0" encoding="utf-8"?>
<ds:datastoreItem xmlns:ds="http://schemas.openxmlformats.org/officeDocument/2006/customXml" ds:itemID="{FF3BC823-C38B-4D9C-83F1-0670E89FDD5E}">
  <ds:schemaRefs>
    <ds:schemaRef ds:uri="http://www.plsfix.com/xml"/>
  </ds:schemaRefs>
</ds:datastoreItem>
</file>

<file path=customXml/itemProps2.xml><?xml version="1.0" encoding="utf-8"?>
<ds:datastoreItem xmlns:ds="http://schemas.openxmlformats.org/officeDocument/2006/customXml" ds:itemID="{366EBCF0-ACB3-4923-976B-814B3EB38F23}">
  <ds:schemaRefs>
    <ds:schemaRef ds:uri="http://www.plsfix.com/xml"/>
  </ds:schemaRefs>
</ds:datastoreItem>
</file>

<file path=customXml/itemProps3.xml><?xml version="1.0" encoding="utf-8"?>
<ds:datastoreItem xmlns:ds="http://schemas.openxmlformats.org/officeDocument/2006/customXml" ds:itemID="{3CC6E0F0-A8F5-409A-A9DE-FE959D1CB749}">
  <ds:schemaRefs>
    <ds:schemaRef ds:uri="http://www.plsfix.com/xml"/>
  </ds:schemaRefs>
</ds:datastoreItem>
</file>

<file path=customXml/itemProps4.xml><?xml version="1.0" encoding="utf-8"?>
<ds:datastoreItem xmlns:ds="http://schemas.openxmlformats.org/officeDocument/2006/customXml" ds:itemID="{3B6FA58A-BFA2-41A0-95EC-54045DD508E5}">
  <ds:schemaRefs>
    <ds:schemaRef ds:uri="http://www.plsfix.com/xml"/>
  </ds:schemaRefs>
</ds:datastoreItem>
</file>

<file path=customXml/itemProps5.xml><?xml version="1.0" encoding="utf-8"?>
<ds:datastoreItem xmlns:ds="http://schemas.openxmlformats.org/officeDocument/2006/customXml" ds:itemID="{D228FE91-8E7B-4E3C-A092-0A0588763D57}">
  <ds:schemaRefs>
    <ds:schemaRef ds:uri="http://www.plsfix.com/xml"/>
  </ds:schemaRefs>
</ds:datastoreItem>
</file>

<file path=customXml/itemProps6.xml><?xml version="1.0" encoding="utf-8"?>
<ds:datastoreItem xmlns:ds="http://schemas.openxmlformats.org/officeDocument/2006/customXml" ds:itemID="{E23B069F-071A-4D48-96A2-533991D8037B}">
  <ds:schemaRefs>
    <ds:schemaRef ds:uri="http://www.plsfix.com/xml"/>
  </ds:schemaRefs>
</ds:datastoreItem>
</file>

<file path=customXml/itemProps7.xml><?xml version="1.0" encoding="utf-8"?>
<ds:datastoreItem xmlns:ds="http://schemas.openxmlformats.org/officeDocument/2006/customXml" ds:itemID="{A5FDE4E3-B9FF-4598-8323-5A50F98EE66A}">
  <ds:schemaRefs>
    <ds:schemaRef ds:uri="http://www.plsfix.com/xml"/>
  </ds:schemaRefs>
</ds:datastoreItem>
</file>

<file path=customXml/itemProps8.xml><?xml version="1.0" encoding="utf-8"?>
<ds:datastoreItem xmlns:ds="http://schemas.openxmlformats.org/officeDocument/2006/customXml" ds:itemID="{5D262410-18B4-4D55-9532-5B101946D29B}">
  <ds:schemaRefs>
    <ds:schemaRef ds:uri="http://www.plsfix.com/xml"/>
  </ds:schemaRefs>
</ds:datastoreItem>
</file>

<file path=customXml/itemProps9.xml><?xml version="1.0" encoding="utf-8"?>
<ds:datastoreItem xmlns:ds="http://schemas.openxmlformats.org/officeDocument/2006/customXml" ds:itemID="{B580167E-42FA-4569-A0F6-8B1DD49DDE20}">
  <ds:schemaRefs>
    <ds:schemaRef ds:uri="http://www.plsfix.com/xml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301</TotalTime>
  <Words>77</Words>
  <Application>Microsoft Office PowerPoint</Application>
  <PresentationFormat>On-screen Show (16:9)</PresentationFormat>
  <Paragraphs>19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Exo</vt:lpstr>
      <vt:lpstr>Playfair Display SemiBold</vt:lpstr>
      <vt:lpstr>Arial</vt:lpstr>
      <vt:lpstr>1_Simple Light</vt:lpstr>
      <vt:lpstr>think-cell Slid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>Felipe Platzer</dc:creator>
  <cp:lastModifiedBy>Felipe Platzer</cp:lastModifiedBy>
  <cp:revision>36</cp:revision>
  <dcterms:modified xsi:type="dcterms:W3CDTF">2025-09-24T16:25:45Z</dcterms:modified>
</cp:coreProperties>
</file>